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7" r:id="rId3"/>
    <p:sldId id="259" r:id="rId4"/>
    <p:sldId id="260" r:id="rId5"/>
    <p:sldId id="261" r:id="rId6"/>
    <p:sldId id="262" r:id="rId7"/>
    <p:sldId id="266" r:id="rId8"/>
    <p:sldId id="264" r:id="rId9"/>
    <p:sldId id="265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A885F5-4A75-4014-B0F3-DA5541724C53}" v="3" dt="2023-08-16T18:58:17.0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59" autoAdjust="0"/>
    <p:restoredTop sz="94713" autoAdjust="0"/>
  </p:normalViewPr>
  <p:slideViewPr>
    <p:cSldViewPr snapToGrid="0">
      <p:cViewPr varScale="1">
        <p:scale>
          <a:sx n="87" d="100"/>
          <a:sy n="87" d="100"/>
        </p:scale>
        <p:origin x="67" y="12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, Maureen" userId="ca275c5c-41c4-430e-8bee-f3e3f1d1d120" providerId="ADAL" clId="{75A885F5-4A75-4014-B0F3-DA5541724C53}"/>
    <pc:docChg chg="custSel modSld">
      <pc:chgData name="Julian, Maureen" userId="ca275c5c-41c4-430e-8bee-f3e3f1d1d120" providerId="ADAL" clId="{75A885F5-4A75-4014-B0F3-DA5541724C53}" dt="2023-08-16T18:58:17.083" v="248" actId="478"/>
      <pc:docMkLst>
        <pc:docMk/>
      </pc:docMkLst>
      <pc:sldChg chg="modSp mod">
        <pc:chgData name="Julian, Maureen" userId="ca275c5c-41c4-430e-8bee-f3e3f1d1d120" providerId="ADAL" clId="{75A885F5-4A75-4014-B0F3-DA5541724C53}" dt="2023-08-16T18:52:48.524" v="145" actId="6549"/>
        <pc:sldMkLst>
          <pc:docMk/>
          <pc:sldMk cId="1123981418" sldId="256"/>
        </pc:sldMkLst>
        <pc:spChg chg="mod">
          <ac:chgData name="Julian, Maureen" userId="ca275c5c-41c4-430e-8bee-f3e3f1d1d120" providerId="ADAL" clId="{75A885F5-4A75-4014-B0F3-DA5541724C53}" dt="2023-08-16T18:52:48.524" v="145" actId="6549"/>
          <ac:spMkLst>
            <pc:docMk/>
            <pc:sldMk cId="1123981418" sldId="256"/>
            <ac:spMk id="2" creationId="{00000000-0000-0000-0000-000000000000}"/>
          </ac:spMkLst>
        </pc:spChg>
        <pc:spChg chg="mod">
          <ac:chgData name="Julian, Maureen" userId="ca275c5c-41c4-430e-8bee-f3e3f1d1d120" providerId="ADAL" clId="{75A885F5-4A75-4014-B0F3-DA5541724C53}" dt="2023-08-16T18:52:43.212" v="144" actId="20577"/>
          <ac:spMkLst>
            <pc:docMk/>
            <pc:sldMk cId="1123981418" sldId="256"/>
            <ac:spMk id="3" creationId="{00000000-0000-0000-0000-000000000000}"/>
          </ac:spMkLst>
        </pc:spChg>
      </pc:sldChg>
      <pc:sldChg chg="delSp">
        <pc:chgData name="Julian, Maureen" userId="ca275c5c-41c4-430e-8bee-f3e3f1d1d120" providerId="ADAL" clId="{75A885F5-4A75-4014-B0F3-DA5541724C53}" dt="2023-08-16T18:58:17.083" v="248" actId="478"/>
        <pc:sldMkLst>
          <pc:docMk/>
          <pc:sldMk cId="4178747776" sldId="259"/>
        </pc:sldMkLst>
        <pc:picChg chg="del">
          <ac:chgData name="Julian, Maureen" userId="ca275c5c-41c4-430e-8bee-f3e3f1d1d120" providerId="ADAL" clId="{75A885F5-4A75-4014-B0F3-DA5541724C53}" dt="2023-08-16T18:58:17.083" v="248" actId="478"/>
          <ac:picMkLst>
            <pc:docMk/>
            <pc:sldMk cId="4178747776" sldId="259"/>
            <ac:picMk id="4104" creationId="{130C2D6E-8E08-4FC9-B921-2AE97470959D}"/>
          </ac:picMkLst>
        </pc:picChg>
      </pc:sldChg>
      <pc:sldChg chg="addSp delSp modSp mod">
        <pc:chgData name="Julian, Maureen" userId="ca275c5c-41c4-430e-8bee-f3e3f1d1d120" providerId="ADAL" clId="{75A885F5-4A75-4014-B0F3-DA5541724C53}" dt="2023-08-16T18:57:59.302" v="247"/>
        <pc:sldMkLst>
          <pc:docMk/>
          <pc:sldMk cId="4243741108" sldId="267"/>
        </pc:sldMkLst>
        <pc:spChg chg="mod">
          <ac:chgData name="Julian, Maureen" userId="ca275c5c-41c4-430e-8bee-f3e3f1d1d120" providerId="ADAL" clId="{75A885F5-4A75-4014-B0F3-DA5541724C53}" dt="2023-08-16T18:54:21.432" v="155" actId="20577"/>
          <ac:spMkLst>
            <pc:docMk/>
            <pc:sldMk cId="4243741108" sldId="267"/>
            <ac:spMk id="2" creationId="{546A6864-92C2-432F-AEFB-5A6B5B75D7BA}"/>
          </ac:spMkLst>
        </pc:spChg>
        <pc:spChg chg="mod">
          <ac:chgData name="Julian, Maureen" userId="ca275c5c-41c4-430e-8bee-f3e3f1d1d120" providerId="ADAL" clId="{75A885F5-4A75-4014-B0F3-DA5541724C53}" dt="2023-08-16T18:57:59.302" v="247"/>
          <ac:spMkLst>
            <pc:docMk/>
            <pc:sldMk cId="4243741108" sldId="267"/>
            <ac:spMk id="7" creationId="{CE742038-CABE-4440-B97B-F7592898F562}"/>
          </ac:spMkLst>
        </pc:spChg>
        <pc:picChg chg="add mod">
          <ac:chgData name="Julian, Maureen" userId="ca275c5c-41c4-430e-8bee-f3e3f1d1d120" providerId="ADAL" clId="{75A885F5-4A75-4014-B0F3-DA5541724C53}" dt="2023-08-16T18:57:28.177" v="204" actId="1076"/>
          <ac:picMkLst>
            <pc:docMk/>
            <pc:sldMk cId="4243741108" sldId="267"/>
            <ac:picMk id="5" creationId="{B571AB67-E9F9-AB43-145A-888B05CD236D}"/>
          </ac:picMkLst>
        </pc:picChg>
        <pc:picChg chg="del">
          <ac:chgData name="Julian, Maureen" userId="ca275c5c-41c4-430e-8bee-f3e3f1d1d120" providerId="ADAL" clId="{75A885F5-4A75-4014-B0F3-DA5541724C53}" dt="2023-08-16T18:57:12.134" v="158" actId="478"/>
          <ac:picMkLst>
            <pc:docMk/>
            <pc:sldMk cId="4243741108" sldId="267"/>
            <ac:picMk id="3085" creationId="{EBB4EF3F-9D11-4A1D-86B2-AFD47F651F46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359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638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146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181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48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656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816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878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242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976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2ED68BF-F91E-41C9-8277-F7EE73E00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56837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89" imgH="788" progId="TCLayout.ActiveDocument.1">
                  <p:embed/>
                </p:oleObj>
              </mc:Choice>
              <mc:Fallback>
                <p:oleObj name="think-cell Slide" r:id="rId14" imgW="789" imgH="78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2ED68BF-F91E-41C9-8277-F7EE73E00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1E9B85-D90D-42F7-8CBC-E1366F3B5381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6EBD9F-D2C0-48A9-A0D7-DFB7C8B072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274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hyperlink" Target="https://repo.anaconda.com/archive/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oundations of Crystallography Third Edi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ython Installation Instructions</a:t>
            </a:r>
          </a:p>
        </p:txBody>
      </p:sp>
    </p:spTree>
    <p:extLst>
      <p:ext uri="{BB962C8B-B14F-4D97-AF65-F5344CB8AC3E}">
        <p14:creationId xmlns:p14="http://schemas.microsoft.com/office/powerpoint/2010/main" val="1123981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B12EF9-CCFC-44F1-8E94-60BABDC913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195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89" imgH="788" progId="TCLayout.ActiveDocument.1">
                  <p:embed/>
                </p:oleObj>
              </mc:Choice>
              <mc:Fallback>
                <p:oleObj name="think-cell Slide" r:id="rId3" imgW="789" imgH="78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B12EF9-CCFC-44F1-8E94-60BABDC91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6A6864-92C2-432F-AEFB-5A6B5B75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ownload Anaconda3-2022.0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742038-CABE-4440-B97B-F7592898F562}"/>
              </a:ext>
            </a:extLst>
          </p:cNvPr>
          <p:cNvSpPr txBox="1"/>
          <p:nvPr/>
        </p:nvSpPr>
        <p:spPr>
          <a:xfrm>
            <a:off x="933450" y="1539012"/>
            <a:ext cx="86179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Anaconda is a collection of Python and key data science libraries. </a:t>
            </a:r>
          </a:p>
          <a:p>
            <a:endParaRPr lang="en-GB" dirty="0"/>
          </a:p>
          <a:p>
            <a:r>
              <a:rPr lang="en-GB" dirty="0"/>
              <a:t>As Anaconda is constantly evolving, please use the version that this software was tested.</a:t>
            </a:r>
          </a:p>
          <a:p>
            <a:endParaRPr lang="en-GB" dirty="0"/>
          </a:p>
          <a:p>
            <a:r>
              <a:rPr lang="en-GB" dirty="0"/>
              <a:t>Use your search engine to find “anaconda archive downloads”.  Currently this is </a:t>
            </a:r>
            <a:r>
              <a:rPr lang="en-GB" dirty="0">
                <a:hlinkClick r:id="rId5"/>
              </a:rPr>
              <a:t>https://repo.anaconda.com/archive/</a:t>
            </a:r>
            <a:endParaRPr lang="en-GB" dirty="0"/>
          </a:p>
          <a:p>
            <a:endParaRPr lang="en-GB" dirty="0"/>
          </a:p>
          <a:p>
            <a:r>
              <a:rPr lang="en-GB" dirty="0"/>
              <a:t>Pick based on your operating system.  Likely choice: Anaconda3-2022.05-Windows-x86_6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71AB67-E9F9-AB43-145A-888B05CD23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3921" y="3910012"/>
            <a:ext cx="7553325" cy="246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7411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98DFF8-BE1F-4089-87B0-D3889C09D5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83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89" imgH="788" progId="TCLayout.ActiveDocument.1">
                  <p:embed/>
                </p:oleObj>
              </mc:Choice>
              <mc:Fallback>
                <p:oleObj name="think-cell Slide" r:id="rId3" imgW="789" imgH="78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98DFF8-BE1F-4089-87B0-D3889C09D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908948"/>
          </a:xfrm>
        </p:spPr>
        <p:txBody>
          <a:bodyPr vert="horz">
            <a:normAutofit/>
          </a:bodyPr>
          <a:lstStyle/>
          <a:p>
            <a:r>
              <a:rPr lang="en-US" dirty="0"/>
              <a:t>Make sure you have 2.7 GB of disk space</a:t>
            </a:r>
            <a:br>
              <a:rPr lang="en-US" dirty="0"/>
            </a:br>
            <a:r>
              <a:rPr lang="en-US" dirty="0"/>
              <a:t>Install the executable</a:t>
            </a:r>
          </a:p>
        </p:txBody>
      </p:sp>
    </p:spTree>
    <p:extLst>
      <p:ext uri="{BB962C8B-B14F-4D97-AF65-F5344CB8AC3E}">
        <p14:creationId xmlns:p14="http://schemas.microsoft.com/office/powerpoint/2010/main" val="4178747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n run the installer.  Accept all defaults and press Next on each screen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3329" y="1840012"/>
            <a:ext cx="6578351" cy="50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086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1) Then restart your machine and</a:t>
            </a:r>
            <a:br>
              <a:rPr lang="en-US" dirty="0"/>
            </a:br>
            <a:r>
              <a:rPr lang="en-US" dirty="0"/>
              <a:t>2) Close all browsers (Chrome, IE, Firefox, etc.)</a:t>
            </a:r>
            <a:br>
              <a:rPr lang="en-US" dirty="0"/>
            </a:br>
            <a:r>
              <a:rPr lang="en-US" dirty="0"/>
              <a:t>2) Open Jupyter Notebook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60" r="69613"/>
          <a:stretch/>
        </p:blipFill>
        <p:spPr>
          <a:xfrm>
            <a:off x="1966753" y="2229492"/>
            <a:ext cx="2051625" cy="329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3216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0401" y="246972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Jupyter Notebooks opens two programs </a:t>
            </a:r>
            <a:br>
              <a:rPr lang="en-US" dirty="0"/>
            </a:br>
            <a:r>
              <a:rPr lang="en-US" dirty="0"/>
              <a:t>1) A web server that runs on your machine</a:t>
            </a:r>
            <a:br>
              <a:rPr lang="en-US" dirty="0"/>
            </a:br>
            <a:r>
              <a:rPr lang="en-US" dirty="0"/>
              <a:t>2) A web client that opens in your default brows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17" y="2969231"/>
            <a:ext cx="4037418" cy="927641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246581" y="1926993"/>
            <a:ext cx="4582274" cy="96004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upyter web server – leave running in the background</a:t>
            </a:r>
          </a:p>
          <a:p>
            <a:pPr algn="ctr"/>
            <a:r>
              <a:rPr lang="en-US" dirty="0"/>
              <a:t>Only one web server should be open at a time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5959011" y="1849348"/>
            <a:ext cx="5786990" cy="1119883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upyter web client – appears as a new tab in your default browser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962" y="3164441"/>
            <a:ext cx="6672039" cy="182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315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/>
        </p:nvSpPr>
        <p:spPr>
          <a:xfrm>
            <a:off x="753760" y="40349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ave your first starter program from Canvass (Problem 1.9) to a directory and open in Jupyt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498" y="4539793"/>
            <a:ext cx="6993383" cy="1914709"/>
          </a:xfrm>
          <a:prstGeom prst="rect">
            <a:avLst/>
          </a:prstGeom>
        </p:spPr>
      </p:pic>
      <p:sp>
        <p:nvSpPr>
          <p:cNvPr id="5" name="Rounded Rectangular Callout 4"/>
          <p:cNvSpPr/>
          <p:nvPr/>
        </p:nvSpPr>
        <p:spPr>
          <a:xfrm>
            <a:off x="6472291" y="5279366"/>
            <a:ext cx="4315146" cy="1095555"/>
          </a:xfrm>
          <a:prstGeom prst="wedgeRoundRectCallout">
            <a:avLst>
              <a:gd name="adj1" fmla="val -97737"/>
              <a:gd name="adj2" fmla="val 4681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Navigate to that directory (Documents/Crystal) in the web client of </a:t>
            </a:r>
            <a:r>
              <a:rPr lang="en-US" dirty="0" err="1"/>
              <a:t>Juypter</a:t>
            </a:r>
            <a:r>
              <a:rPr lang="en-US" dirty="0"/>
              <a:t> (that should be open in your browser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28" y="1686025"/>
            <a:ext cx="10396965" cy="2654545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8447499" y="2412963"/>
            <a:ext cx="3276974" cy="1927607"/>
          </a:xfrm>
          <a:prstGeom prst="wedgeRoundRectCallout">
            <a:avLst>
              <a:gd name="adj1" fmla="val -141086"/>
              <a:gd name="adj2" fmla="val -732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Save the starter program to a convenient directory (ex: Documents/Crystal)</a:t>
            </a:r>
          </a:p>
        </p:txBody>
      </p:sp>
    </p:spTree>
    <p:extLst>
      <p:ext uri="{BB962C8B-B14F-4D97-AF65-F5344CB8AC3E}">
        <p14:creationId xmlns:p14="http://schemas.microsoft.com/office/powerpoint/2010/main" val="4219562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ow when you refresh your browser, double click  on the starter program within Jupyter clien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079" y="2244314"/>
            <a:ext cx="12125914" cy="3162674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5250094" y="4972692"/>
            <a:ext cx="2815119" cy="760288"/>
          </a:xfrm>
          <a:prstGeom prst="wedgeRoundRectCallout">
            <a:avLst>
              <a:gd name="adj1" fmla="val -64629"/>
              <a:gd name="adj2" fmla="val -4290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ouble click here to open a new tab for Starter Program</a:t>
            </a:r>
          </a:p>
        </p:txBody>
      </p:sp>
      <p:sp>
        <p:nvSpPr>
          <p:cNvPr id="6" name="Rounded Rectangular Callout 5"/>
          <p:cNvSpPr/>
          <p:nvPr/>
        </p:nvSpPr>
        <p:spPr>
          <a:xfrm>
            <a:off x="1705510" y="1592494"/>
            <a:ext cx="1828800" cy="651820"/>
          </a:xfrm>
          <a:prstGeom prst="wedgeRoundRectCallout">
            <a:avLst>
              <a:gd name="adj1" fmla="val -99485"/>
              <a:gd name="adj2" fmla="val 5934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ymbol of main Jupyter tab</a:t>
            </a:r>
          </a:p>
        </p:txBody>
      </p:sp>
    </p:spTree>
    <p:extLst>
      <p:ext uri="{BB962C8B-B14F-4D97-AF65-F5344CB8AC3E}">
        <p14:creationId xmlns:p14="http://schemas.microsoft.com/office/powerpoint/2010/main" val="28857936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16" y="70788"/>
            <a:ext cx="10228724" cy="6542021"/>
          </a:xfrm>
          <a:prstGeom prst="rect">
            <a:avLst/>
          </a:prstGeom>
        </p:spPr>
      </p:pic>
      <p:sp>
        <p:nvSpPr>
          <p:cNvPr id="4" name="Rounded Rectangular Callout 3"/>
          <p:cNvSpPr/>
          <p:nvPr/>
        </p:nvSpPr>
        <p:spPr>
          <a:xfrm>
            <a:off x="73514" y="757646"/>
            <a:ext cx="1485319" cy="1341120"/>
          </a:xfrm>
          <a:prstGeom prst="wedgeRoundRectCallout">
            <a:avLst>
              <a:gd name="adj1" fmla="val -7198"/>
              <a:gd name="adj2" fmla="val -9305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in Jupyter tab  -- only 1 should be open</a:t>
            </a:r>
          </a:p>
        </p:txBody>
      </p:sp>
      <p:sp>
        <p:nvSpPr>
          <p:cNvPr id="5" name="Rounded Rectangular Callout 4"/>
          <p:cNvSpPr/>
          <p:nvPr/>
        </p:nvSpPr>
        <p:spPr>
          <a:xfrm>
            <a:off x="6069875" y="0"/>
            <a:ext cx="2795452" cy="391886"/>
          </a:xfrm>
          <a:prstGeom prst="wedgeRoundRectCallout">
            <a:avLst>
              <a:gd name="adj1" fmla="val -103888"/>
              <a:gd name="adj2" fmla="val 27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rter program tab</a:t>
            </a:r>
          </a:p>
        </p:txBody>
      </p:sp>
      <p:sp>
        <p:nvSpPr>
          <p:cNvPr id="6" name="Rounded Rectangular Callout 5"/>
          <p:cNvSpPr/>
          <p:nvPr/>
        </p:nvSpPr>
        <p:spPr>
          <a:xfrm>
            <a:off x="6601096" y="757646"/>
            <a:ext cx="2769324" cy="444137"/>
          </a:xfrm>
          <a:prstGeom prst="wedgeRoundRectCallout">
            <a:avLst>
              <a:gd name="adj1" fmla="val -131839"/>
              <a:gd name="adj2" fmla="val 4681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xt step: Cell | Run all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10032274" y="5425440"/>
            <a:ext cx="1532709" cy="705394"/>
          </a:xfrm>
          <a:prstGeom prst="wedgeRoundRectCallout">
            <a:avLst>
              <a:gd name="adj1" fmla="val -95833"/>
              <a:gd name="adj2" fmla="val 6126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rt programming here</a:t>
            </a:r>
          </a:p>
        </p:txBody>
      </p:sp>
    </p:spTree>
    <p:extLst>
      <p:ext uri="{BB962C8B-B14F-4D97-AF65-F5344CB8AC3E}">
        <p14:creationId xmlns:p14="http://schemas.microsoft.com/office/powerpoint/2010/main" val="2607498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1</TotalTime>
  <Words>301</Words>
  <Application>Microsoft Office PowerPoint</Application>
  <PresentationFormat>Widescreen</PresentationFormat>
  <Paragraphs>2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think-cell Slide</vt:lpstr>
      <vt:lpstr>Foundations of Crystallography Third Edition </vt:lpstr>
      <vt:lpstr>Download Anaconda3-2022.05</vt:lpstr>
      <vt:lpstr>Make sure you have 2.7 GB of disk space Install the executable</vt:lpstr>
      <vt:lpstr>Then run the installer.  Accept all defaults and press Next on each screen.</vt:lpstr>
      <vt:lpstr>1) Then restart your machine and 2) Close all browsers (Chrome, IE, Firefox, etc.) 2) Open Jupyter Notebook</vt:lpstr>
      <vt:lpstr>Jupyter Notebooks opens two programs  1) A web server that runs on your machine 2) A web client that opens in your default browser</vt:lpstr>
      <vt:lpstr>PowerPoint Presentation</vt:lpstr>
      <vt:lpstr>Now when you refresh your browser, double click  on the starter program within Jupyter clien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e</dc:creator>
  <cp:lastModifiedBy>Julian, Maureen</cp:lastModifiedBy>
  <cp:revision>28</cp:revision>
  <dcterms:created xsi:type="dcterms:W3CDTF">2019-07-11T16:25:06Z</dcterms:created>
  <dcterms:modified xsi:type="dcterms:W3CDTF">2023-08-16T18:58:26Z</dcterms:modified>
</cp:coreProperties>
</file>